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2"/>
  </p:notesMasterIdLst>
  <p:handoutMasterIdLst>
    <p:handoutMasterId r:id="rId13"/>
  </p:handoutMasterIdLst>
  <p:sldIdLst>
    <p:sldId id="267" r:id="rId6"/>
    <p:sldId id="259" r:id="rId7"/>
    <p:sldId id="258" r:id="rId8"/>
    <p:sldId id="270" r:id="rId9"/>
    <p:sldId id="269" r:id="rId10"/>
    <p:sldId id="257" r:id="rId11"/>
  </p:sldIdLst>
  <p:sldSz cx="12192000" cy="6858000"/>
  <p:notesSz cx="7099300" cy="10234613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738" autoAdjust="0"/>
    <p:restoredTop sz="94696" autoAdjust="0"/>
  </p:normalViewPr>
  <p:slideViewPr>
    <p:cSldViewPr snapToObjects="1" showGuides="1">
      <p:cViewPr>
        <p:scale>
          <a:sx n="100" d="100"/>
          <a:sy n="100" d="100"/>
        </p:scale>
        <p:origin x="426" y="39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Youssef Tarkhan</a:t>
            </a:r>
          </a:p>
          <a:p>
            <a:r>
              <a:rPr lang="en-US" dirty="0"/>
              <a:t>21.08.2023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pdate on IFX Pon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etup</a:t>
            </a:r>
          </a:p>
        </p:txBody>
      </p:sp>
      <p:pic>
        <p:nvPicPr>
          <p:cNvPr id="4" name="Picture 2" descr="3d Coordinate System - Definition, Graphing Techniques, and Examples">
            <a:extLst>
              <a:ext uri="{FF2B5EF4-FFF2-40B4-BE49-F238E27FC236}">
                <a16:creationId xmlns:a16="http://schemas.microsoft.com/office/drawing/2014/main" id="{60F68620-C547-4E1F-8EA6-73BB59B19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771" y="1772816"/>
            <a:ext cx="3714750" cy="398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C670D9B-567B-40CC-B9D5-925D00A671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4" y="2524365"/>
            <a:ext cx="260953" cy="94517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dist="1270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D2B9B0E-34ED-4638-8634-B1D4109956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523" y="3429000"/>
            <a:ext cx="260953" cy="945173"/>
          </a:xfrm>
          <a:prstGeom prst="rect">
            <a:avLst/>
          </a:prstGeom>
        </p:spPr>
      </p:pic>
      <p:sp>
        <p:nvSpPr>
          <p:cNvPr id="7" name="Arrow: Up-Down 6">
            <a:extLst>
              <a:ext uri="{FF2B5EF4-FFF2-40B4-BE49-F238E27FC236}">
                <a16:creationId xmlns:a16="http://schemas.microsoft.com/office/drawing/2014/main" id="{457FF6B4-EB07-46B8-B677-EAF0F8737E87}"/>
              </a:ext>
            </a:extLst>
          </p:cNvPr>
          <p:cNvSpPr/>
          <p:nvPr/>
        </p:nvSpPr>
        <p:spPr bwMode="auto">
          <a:xfrm>
            <a:off x="4871864" y="3140968"/>
            <a:ext cx="73087" cy="2160240"/>
          </a:xfrm>
          <a:prstGeom prst="upDown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4" descr="https://brandportal.infineon.com/media/cache/lowres/assets/08/179/646cb706c93fd.eps.png">
            <a:extLst>
              <a:ext uri="{FF2B5EF4-FFF2-40B4-BE49-F238E27FC236}">
                <a16:creationId xmlns:a16="http://schemas.microsoft.com/office/drawing/2014/main" id="{974EFEE2-CD0C-41B3-8800-4E523BB8B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144" y="2580863"/>
            <a:ext cx="2016224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EC1D246-E876-4869-8111-D6B9E2F7D7A4}"/>
              </a:ext>
            </a:extLst>
          </p:cNvPr>
          <p:cNvCxnSpPr/>
          <p:nvPr/>
        </p:nvCxnSpPr>
        <p:spPr>
          <a:xfrm>
            <a:off x="4705957" y="2924944"/>
            <a:ext cx="2758195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89750A8-5B4C-44ED-8472-1BA051E3321F}"/>
              </a:ext>
            </a:extLst>
          </p:cNvPr>
          <p:cNvCxnSpPr/>
          <p:nvPr/>
        </p:nvCxnSpPr>
        <p:spPr>
          <a:xfrm>
            <a:off x="6226476" y="3901586"/>
            <a:ext cx="12376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0073A0-23F7-4525-866E-D44B212C6BBC}"/>
              </a:ext>
            </a:extLst>
          </p:cNvPr>
          <p:cNvSpPr txBox="1"/>
          <p:nvPr/>
        </p:nvSpPr>
        <p:spPr bwMode="auto">
          <a:xfrm>
            <a:off x="4712353" y="2666541"/>
            <a:ext cx="1064394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Controller Rea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E14DAD-6FC9-4223-9BE1-5D6ACAA3FEBA}"/>
              </a:ext>
            </a:extLst>
          </p:cNvPr>
          <p:cNvSpPr txBox="1"/>
          <p:nvPr/>
        </p:nvSpPr>
        <p:spPr bwMode="auto">
          <a:xfrm>
            <a:off x="6226476" y="3705203"/>
            <a:ext cx="905697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Station Read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784EB5-7FDC-4286-AC75-9B545B2D4A11}"/>
              </a:ext>
            </a:extLst>
          </p:cNvPr>
          <p:cNvSpPr txBox="1"/>
          <p:nvPr/>
        </p:nvSpPr>
        <p:spPr bwMode="auto">
          <a:xfrm>
            <a:off x="7608168" y="3218361"/>
            <a:ext cx="1543692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Delta=Controller - Statation</a:t>
            </a:r>
          </a:p>
        </p:txBody>
      </p: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Python Game implement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615908-3CEA-47E9-8E3F-C2A5B173579C}"/>
              </a:ext>
            </a:extLst>
          </p:cNvPr>
          <p:cNvSpPr txBox="1"/>
          <p:nvPr/>
        </p:nvSpPr>
        <p:spPr bwMode="auto">
          <a:xfrm>
            <a:off x="629792" y="2132855"/>
            <a:ext cx="7782259" cy="1963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Station/Controller Dynamic is a lot more stable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Delta </a:t>
            </a:r>
            <a:r>
              <a:rPr lang="de-DE" sz="1800" kern="0" dirty="0">
                <a:latin typeface="+mn-lt"/>
              </a:rPr>
              <a:t>= Base – Controller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Delta drifts over time -&gt; manual recalibration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Only needs some minor visual improvement, however mechanics do work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de-DE" sz="1800" kern="0" dirty="0">
                <a:latin typeface="+mn-lt"/>
              </a:rPr>
              <a:t>Player has to move up or down or else will bump into clouds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The more unbumped time (survival time) the higher the scor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E93CE8-77FD-4DC7-94DE-7F39A6518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Setu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997393-F326-4149-A971-95DEFBA23E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9A6BBE-2AC9-40BA-BB98-C2860ED48B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2" descr="3d Coordinate System - Definition, Graphing Techniques, and Examples">
            <a:extLst>
              <a:ext uri="{FF2B5EF4-FFF2-40B4-BE49-F238E27FC236}">
                <a16:creationId xmlns:a16="http://schemas.microsoft.com/office/drawing/2014/main" id="{C09D7756-8794-4A8E-8013-4348D032C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771" y="1772816"/>
            <a:ext cx="3714750" cy="398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3BA0EA0-B318-4F38-B4A2-BF6CBC5290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4" y="2524365"/>
            <a:ext cx="260953" cy="94517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dist="1270000" dir="5400000" sy="-100000" algn="bl" rotWithShape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3EAA3FC-E9EC-45F1-A6B5-84403ABF3A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523" y="3429000"/>
            <a:ext cx="260953" cy="945173"/>
          </a:xfrm>
          <a:prstGeom prst="rect">
            <a:avLst/>
          </a:prstGeom>
        </p:spPr>
      </p:pic>
      <p:sp>
        <p:nvSpPr>
          <p:cNvPr id="9" name="Arrow: Up-Down 8">
            <a:extLst>
              <a:ext uri="{FF2B5EF4-FFF2-40B4-BE49-F238E27FC236}">
                <a16:creationId xmlns:a16="http://schemas.microsoft.com/office/drawing/2014/main" id="{5880C35D-9192-479A-AC64-09A2285C3998}"/>
              </a:ext>
            </a:extLst>
          </p:cNvPr>
          <p:cNvSpPr/>
          <p:nvPr/>
        </p:nvSpPr>
        <p:spPr bwMode="auto">
          <a:xfrm>
            <a:off x="4871864" y="3140968"/>
            <a:ext cx="73087" cy="2160240"/>
          </a:xfrm>
          <a:prstGeom prst="upDown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4" descr="https://brandportal.infineon.com/media/cache/lowres/assets/08/179/646cb706c93fd.eps.png">
            <a:extLst>
              <a:ext uri="{FF2B5EF4-FFF2-40B4-BE49-F238E27FC236}">
                <a16:creationId xmlns:a16="http://schemas.microsoft.com/office/drawing/2014/main" id="{95BE9207-182A-4B06-9233-EC8B66E738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8428" y="3366061"/>
            <a:ext cx="1008112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8000284-639A-4503-A1A7-602C89C3659E}"/>
              </a:ext>
            </a:extLst>
          </p:cNvPr>
          <p:cNvCxnSpPr>
            <a:cxnSpLocks/>
          </p:cNvCxnSpPr>
          <p:nvPr/>
        </p:nvCxnSpPr>
        <p:spPr>
          <a:xfrm>
            <a:off x="4712353" y="3140968"/>
            <a:ext cx="1253170" cy="760618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3DBACB6-1110-45CF-BC4E-97ED926CC4B4}"/>
              </a:ext>
            </a:extLst>
          </p:cNvPr>
          <p:cNvCxnSpPr/>
          <p:nvPr/>
        </p:nvCxnSpPr>
        <p:spPr>
          <a:xfrm>
            <a:off x="6226476" y="3901586"/>
            <a:ext cx="12376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6DC0A3E-9EC5-4AAE-AC2A-C0F631DD065E}"/>
              </a:ext>
            </a:extLst>
          </p:cNvPr>
          <p:cNvSpPr txBox="1"/>
          <p:nvPr/>
        </p:nvSpPr>
        <p:spPr bwMode="auto">
          <a:xfrm>
            <a:off x="4712353" y="2666541"/>
            <a:ext cx="1064394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Controller R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BFB528-F760-41DF-A773-B87E662F6D0E}"/>
              </a:ext>
            </a:extLst>
          </p:cNvPr>
          <p:cNvSpPr txBox="1"/>
          <p:nvPr/>
        </p:nvSpPr>
        <p:spPr bwMode="auto">
          <a:xfrm>
            <a:off x="6226476" y="3705203"/>
            <a:ext cx="944169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Motion Up/Dow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1FD5A4-3410-440D-8646-1931735F856A}"/>
              </a:ext>
            </a:extLst>
          </p:cNvPr>
          <p:cNvSpPr txBox="1"/>
          <p:nvPr/>
        </p:nvSpPr>
        <p:spPr bwMode="auto">
          <a:xfrm>
            <a:off x="5454630" y="3095679"/>
            <a:ext cx="1543692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Delta=Controller - Statation</a:t>
            </a:r>
          </a:p>
        </p:txBody>
      </p:sp>
      <p:pic>
        <p:nvPicPr>
          <p:cNvPr id="1026" name="Picture 2" descr="Bluetooth Zeichen Bilder - Kostenloser Download auf Freepik">
            <a:extLst>
              <a:ext uri="{FF2B5EF4-FFF2-40B4-BE49-F238E27FC236}">
                <a16:creationId xmlns:a16="http://schemas.microsoft.com/office/drawing/2014/main" id="{34DC65F0-0D96-4F42-B6F6-9750AE5D0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8371" flipV="1">
            <a:off x="5204487" y="3414275"/>
            <a:ext cx="237799" cy="237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16DE0FA-7ABB-41E4-8FC6-6D382434748A}"/>
              </a:ext>
            </a:extLst>
          </p:cNvPr>
          <p:cNvSpPr txBox="1"/>
          <p:nvPr/>
        </p:nvSpPr>
        <p:spPr bwMode="auto">
          <a:xfrm>
            <a:off x="6275468" y="3895870"/>
            <a:ext cx="318998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solidFill>
                  <a:srgbClr val="F97414"/>
                </a:solidFill>
                <a:latin typeface="+mn-lt"/>
                <a:ea typeface="+mn-ea"/>
                <a:cs typeface="+mn-cs"/>
              </a:rPr>
              <a:t>GPIO</a:t>
            </a:r>
          </a:p>
        </p:txBody>
      </p:sp>
      <p:pic>
        <p:nvPicPr>
          <p:cNvPr id="2050" name="Picture 2" descr="XMC 2Go Entwicklungs-Kits - Infineon Technologies | Mouser">
            <a:extLst>
              <a:ext uri="{FF2B5EF4-FFF2-40B4-BE49-F238E27FC236}">
                <a16:creationId xmlns:a16="http://schemas.microsoft.com/office/drawing/2014/main" id="{3D1C33E1-6F3B-4443-B1AE-77861224D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3103" y="3504689"/>
            <a:ext cx="1093026" cy="793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FC15882-B76E-4515-914E-383E6555338B}"/>
              </a:ext>
            </a:extLst>
          </p:cNvPr>
          <p:cNvCxnSpPr/>
          <p:nvPr/>
        </p:nvCxnSpPr>
        <p:spPr>
          <a:xfrm>
            <a:off x="8710752" y="3856928"/>
            <a:ext cx="12376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3BEE946-FF1B-4E36-9B0C-AAF5356C38FC}"/>
              </a:ext>
            </a:extLst>
          </p:cNvPr>
          <p:cNvSpPr txBox="1"/>
          <p:nvPr/>
        </p:nvSpPr>
        <p:spPr bwMode="auto">
          <a:xfrm>
            <a:off x="9022221" y="3895870"/>
            <a:ext cx="262892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solidFill>
                  <a:srgbClr val="9C216E"/>
                </a:solidFill>
                <a:latin typeface="+mn-lt"/>
                <a:ea typeface="+mn-ea"/>
                <a:cs typeface="+mn-cs"/>
              </a:rPr>
              <a:t>US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BAE6AE-22B5-43AF-96EF-48C54DFCB397}"/>
              </a:ext>
            </a:extLst>
          </p:cNvPr>
          <p:cNvSpPr txBox="1"/>
          <p:nvPr/>
        </p:nvSpPr>
        <p:spPr bwMode="auto">
          <a:xfrm>
            <a:off x="8813028" y="3621929"/>
            <a:ext cx="944169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Motion Up/Down</a:t>
            </a:r>
          </a:p>
        </p:txBody>
      </p:sp>
    </p:spTree>
    <p:extLst>
      <p:ext uri="{BB962C8B-B14F-4D97-AF65-F5344CB8AC3E}">
        <p14:creationId xmlns:p14="http://schemas.microsoft.com/office/powerpoint/2010/main" val="1084547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E93CE8-77FD-4DC7-94DE-7F39A6518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Setu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997393-F326-4149-A971-95DEFBA23E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9A6BBE-2AC9-40BA-BB98-C2860ED48B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6" name="Picture 2" descr="3d Coordinate System - Definition, Graphing Techniques, and Examples">
            <a:extLst>
              <a:ext uri="{FF2B5EF4-FFF2-40B4-BE49-F238E27FC236}">
                <a16:creationId xmlns:a16="http://schemas.microsoft.com/office/drawing/2014/main" id="{C09D7756-8794-4A8E-8013-4348D032C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771" y="1772816"/>
            <a:ext cx="3714750" cy="398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3BA0EA0-B318-4F38-B4A2-BF6CBC5290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4" y="2524365"/>
            <a:ext cx="260953" cy="94517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dist="1270000" dir="5400000" sy="-100000" algn="bl" rotWithShape="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3EAA3FC-E9EC-45F1-A6B5-84403ABF3A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523" y="3429000"/>
            <a:ext cx="260953" cy="945173"/>
          </a:xfrm>
          <a:prstGeom prst="rect">
            <a:avLst/>
          </a:prstGeom>
        </p:spPr>
      </p:pic>
      <p:sp>
        <p:nvSpPr>
          <p:cNvPr id="9" name="Arrow: Up-Down 8">
            <a:extLst>
              <a:ext uri="{FF2B5EF4-FFF2-40B4-BE49-F238E27FC236}">
                <a16:creationId xmlns:a16="http://schemas.microsoft.com/office/drawing/2014/main" id="{5880C35D-9192-479A-AC64-09A2285C3998}"/>
              </a:ext>
            </a:extLst>
          </p:cNvPr>
          <p:cNvSpPr/>
          <p:nvPr/>
        </p:nvSpPr>
        <p:spPr bwMode="auto">
          <a:xfrm>
            <a:off x="4871864" y="3140968"/>
            <a:ext cx="73087" cy="2160240"/>
          </a:xfrm>
          <a:prstGeom prst="upDown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8000284-639A-4503-A1A7-602C89C3659E}"/>
              </a:ext>
            </a:extLst>
          </p:cNvPr>
          <p:cNvCxnSpPr>
            <a:cxnSpLocks/>
          </p:cNvCxnSpPr>
          <p:nvPr/>
        </p:nvCxnSpPr>
        <p:spPr>
          <a:xfrm>
            <a:off x="4712353" y="3140968"/>
            <a:ext cx="1253170" cy="760618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3DBACB6-1110-45CF-BC4E-97ED926CC4B4}"/>
              </a:ext>
            </a:extLst>
          </p:cNvPr>
          <p:cNvCxnSpPr/>
          <p:nvPr/>
        </p:nvCxnSpPr>
        <p:spPr>
          <a:xfrm>
            <a:off x="6226476" y="3901586"/>
            <a:ext cx="1237676" cy="0"/>
          </a:xfrm>
          <a:prstGeom prst="straightConnector1">
            <a:avLst/>
          </a:prstGeom>
          <a:ln w="95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6DC0A3E-9EC5-4AAE-AC2A-C0F631DD065E}"/>
              </a:ext>
            </a:extLst>
          </p:cNvPr>
          <p:cNvSpPr txBox="1"/>
          <p:nvPr/>
        </p:nvSpPr>
        <p:spPr bwMode="auto">
          <a:xfrm>
            <a:off x="4712353" y="2666541"/>
            <a:ext cx="1064394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Controller Read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8BFB528-F760-41DF-A773-B87E662F6D0E}"/>
              </a:ext>
            </a:extLst>
          </p:cNvPr>
          <p:cNvSpPr txBox="1"/>
          <p:nvPr/>
        </p:nvSpPr>
        <p:spPr bwMode="auto">
          <a:xfrm>
            <a:off x="6226476" y="3705203"/>
            <a:ext cx="944169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Motion Up/Dow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1FD5A4-3410-440D-8646-1931735F856A}"/>
              </a:ext>
            </a:extLst>
          </p:cNvPr>
          <p:cNvSpPr txBox="1"/>
          <p:nvPr/>
        </p:nvSpPr>
        <p:spPr bwMode="auto">
          <a:xfrm>
            <a:off x="5454630" y="3095679"/>
            <a:ext cx="1543692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latin typeface="+mn-lt"/>
                <a:ea typeface="+mn-ea"/>
                <a:cs typeface="+mn-cs"/>
              </a:rPr>
              <a:t>Delta=Controller - Statation</a:t>
            </a:r>
          </a:p>
        </p:txBody>
      </p:sp>
      <p:pic>
        <p:nvPicPr>
          <p:cNvPr id="1026" name="Picture 2" descr="Bluetooth Zeichen Bilder - Kostenloser Download auf Freepik">
            <a:extLst>
              <a:ext uri="{FF2B5EF4-FFF2-40B4-BE49-F238E27FC236}">
                <a16:creationId xmlns:a16="http://schemas.microsoft.com/office/drawing/2014/main" id="{34DC65F0-0D96-4F42-B6F6-9750AE5D0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8371" flipV="1">
            <a:off x="5204487" y="3414275"/>
            <a:ext cx="237799" cy="237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16DE0FA-7ABB-41E4-8FC6-6D382434748A}"/>
              </a:ext>
            </a:extLst>
          </p:cNvPr>
          <p:cNvSpPr txBox="1"/>
          <p:nvPr/>
        </p:nvSpPr>
        <p:spPr bwMode="auto">
          <a:xfrm>
            <a:off x="6275468" y="3895870"/>
            <a:ext cx="318998" cy="16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000" kern="0" baseline="0" dirty="0">
                <a:solidFill>
                  <a:srgbClr val="F97414"/>
                </a:solidFill>
                <a:latin typeface="+mn-lt"/>
                <a:ea typeface="+mn-ea"/>
                <a:cs typeface="+mn-cs"/>
              </a:rPr>
              <a:t>GPIO</a:t>
            </a:r>
          </a:p>
        </p:txBody>
      </p:sp>
      <p:pic>
        <p:nvPicPr>
          <p:cNvPr id="1028" name="Picture 4" descr="Datei:Raspberry Pi Logo.svg – Wikipedia">
            <a:extLst>
              <a:ext uri="{FF2B5EF4-FFF2-40B4-BE49-F238E27FC236}">
                <a16:creationId xmlns:a16="http://schemas.microsoft.com/office/drawing/2014/main" id="{3DF39B9B-D064-40B6-BE7F-0DCFBA590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798" y="3469538"/>
            <a:ext cx="626393" cy="791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6515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purl.org/dc/dcmitype/"/>
    <ds:schemaRef ds:uri="http://purl.org/dc/elements/1.1/"/>
    <ds:schemaRef ds:uri="a709603d-609a-478b-a91d-3c5e984c0e79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6ef45842-284e-44e4-b2db-1749e7948b4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14</Words>
  <Application>Microsoft Office PowerPoint</Application>
  <PresentationFormat>Widescreen</PresentationFormat>
  <Paragraphs>28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Arial Unicode MS</vt:lpstr>
      <vt:lpstr>Verdana</vt:lpstr>
      <vt:lpstr>Infineon 16:9</vt:lpstr>
      <vt:lpstr>Update on IFX Pong</vt:lpstr>
      <vt:lpstr>Current Setup</vt:lpstr>
      <vt:lpstr>Basic Python Game implemented</vt:lpstr>
      <vt:lpstr>Next Setup</vt:lpstr>
      <vt:lpstr>Next Setup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 on IFX Pong</dc:title>
  <dc:creator>Tarkhan Youssef (IFAG DES SDF SCS EPE)</dc:creator>
  <cp:lastModifiedBy>Tarkhan Youssef (IFAG DES SDF SCS EPE)</cp:lastModifiedBy>
  <cp:revision>6</cp:revision>
  <dcterms:created xsi:type="dcterms:W3CDTF">2023-08-21T11:04:50Z</dcterms:created>
  <dcterms:modified xsi:type="dcterms:W3CDTF">2023-08-21T11:1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